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1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32835" y="173668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</a:rPr>
                <a:t>VALOR E VANTAGENS</a:t>
              </a:r>
              <a:endParaRPr lang="pt-B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DESCRIÇÃO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pt-BR" dirty="0"/>
              <a:t>Aumente a eficiência do seu equipamento e assegure a qualidade do produto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4769" y="1435100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dirty="0"/>
              <a:t>Sistema de recuperação de calor do forno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0DB7499-8C91-486C-830A-427CE41778FC}"/>
              </a:ext>
            </a:extLst>
          </p:cNvPr>
          <p:cNvSpPr txBox="1">
            <a:spLocks/>
          </p:cNvSpPr>
          <p:nvPr/>
        </p:nvSpPr>
        <p:spPr>
          <a:xfrm>
            <a:off x="632835" y="5837121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or: Eficiência, </a:t>
            </a:r>
            <a:r>
              <a:rPr lang="en-GB" altLang="fr-FR" sz="800" dirty="0" err="1">
                <a:solidFill>
                  <a:srgbClr val="000000"/>
                </a:solidFill>
              </a:rPr>
              <a:t>Qualidade</a:t>
            </a:r>
            <a:r>
              <a:rPr lang="en-GB" altLang="fr-FR" sz="800" dirty="0">
                <a:solidFill>
                  <a:srgbClr val="000000"/>
                </a:solidFill>
              </a:rPr>
              <a:t> do </a:t>
            </a:r>
            <a:r>
              <a:rPr lang="en-GB" altLang="fr-FR" sz="800" dirty="0" err="1">
                <a:solidFill>
                  <a:srgbClr val="000000"/>
                </a:solidFill>
              </a:rPr>
              <a:t>produto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amento: Sopradora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2</a:t>
            </a:r>
            <a:endParaRPr kumimoji="0" lang="pt-BR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álogo código: 518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BEE4369-6E35-4E33-A414-ED70FF4E799E}"/>
              </a:ext>
            </a:extLst>
          </p:cNvPr>
          <p:cNvSpPr/>
          <p:nvPr/>
        </p:nvSpPr>
        <p:spPr>
          <a:xfrm>
            <a:off x="654769" y="2174553"/>
            <a:ext cx="39039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Estabilidade segura do processo de sopro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pt-BR" altLang="fr-FR" sz="1200" dirty="0"/>
              <a:t>Evite problemas de qualidade da garrafa devido à variação da temperatura ambiente</a:t>
            </a:r>
            <a:endParaRPr lang="en-GB" altLang="fr-FR" sz="1200" b="1" dirty="0"/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BCAB557E-EBD7-4CF1-BD93-567D39827B2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169" y="3608106"/>
            <a:ext cx="2605812" cy="209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5">
            <a:extLst>
              <a:ext uri="{FF2B5EF4-FFF2-40B4-BE49-F238E27FC236}">
                <a16:creationId xmlns:a16="http://schemas.microsoft.com/office/drawing/2014/main" id="{ECBD5413-F473-4408-9FC4-25C8A7D1F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810" y="2170837"/>
            <a:ext cx="3873500" cy="1827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>
              <a:spcBef>
                <a:spcPct val="45000"/>
              </a:spcBef>
              <a:buClr>
                <a:srgbClr val="FF0000"/>
              </a:buClr>
              <a:buSzPct val="100000"/>
              <a:defRPr/>
            </a:pPr>
            <a:r>
              <a:rPr lang="pt-BR" sz="1100" dirty="0">
                <a:solidFill>
                  <a:srgbClr val="000000"/>
                </a:solidFill>
              </a:rPr>
              <a:t>Os componentes do sistema de recuperação de calor do forno: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Novo módulo de entrada de ar (1, 2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Um módulo de ventilação inferior incluindo um ventilador (3, 4, 5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pt-BR" sz="1100" dirty="0">
                <a:solidFill>
                  <a:srgbClr val="000000"/>
                </a:solidFill>
              </a:rPr>
              <a:t>Um módulo de ventilação superior (6,7)</a:t>
            </a:r>
            <a:endParaRPr lang="fr-FR" sz="1100" dirty="0">
              <a:solidFill>
                <a:srgbClr val="000000"/>
              </a:solidFill>
            </a:endParaRP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44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91</TotalTime>
  <Words>101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Aumente a eficiência do seu equipamento e assegure a qualidade do produto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7</cp:revision>
  <dcterms:created xsi:type="dcterms:W3CDTF">2018-02-10T17:04:39Z</dcterms:created>
  <dcterms:modified xsi:type="dcterms:W3CDTF">2021-02-16T12:21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